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97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D$2:$D$204</c:f>
              <c:numCache>
                <c:formatCode>#,##0</c:formatCode>
                <c:ptCount val="203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9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5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2</c:v>
                </c:pt>
                <c:pt idx="177">
                  <c:v>729</c:v>
                </c:pt>
                <c:pt idx="178">
                  <c:v>720</c:v>
                </c:pt>
                <c:pt idx="179">
                  <c:v>715</c:v>
                </c:pt>
                <c:pt idx="180">
                  <c:v>742</c:v>
                </c:pt>
                <c:pt idx="181">
                  <c:v>781</c:v>
                </c:pt>
                <c:pt idx="182">
                  <c:v>801</c:v>
                </c:pt>
                <c:pt idx="183">
                  <c:v>807</c:v>
                </c:pt>
                <c:pt idx="184">
                  <c:v>828</c:v>
                </c:pt>
                <c:pt idx="185">
                  <c:v>843</c:v>
                </c:pt>
                <c:pt idx="186">
                  <c:v>853</c:v>
                </c:pt>
                <c:pt idx="187">
                  <c:v>870</c:v>
                </c:pt>
                <c:pt idx="188">
                  <c:v>917</c:v>
                </c:pt>
                <c:pt idx="189">
                  <c:v>907</c:v>
                </c:pt>
                <c:pt idx="190">
                  <c:v>914</c:v>
                </c:pt>
                <c:pt idx="191">
                  <c:v>918</c:v>
                </c:pt>
                <c:pt idx="192">
                  <c:v>930</c:v>
                </c:pt>
                <c:pt idx="193">
                  <c:v>912</c:v>
                </c:pt>
                <c:pt idx="194">
                  <c:v>939</c:v>
                </c:pt>
                <c:pt idx="195">
                  <c:v>942</c:v>
                </c:pt>
                <c:pt idx="196">
                  <c:v>928</c:v>
                </c:pt>
                <c:pt idx="197">
                  <c:v>923</c:v>
                </c:pt>
                <c:pt idx="198">
                  <c:v>952</c:v>
                </c:pt>
                <c:pt idx="199">
                  <c:v>935</c:v>
                </c:pt>
                <c:pt idx="200">
                  <c:v>935</c:v>
                </c:pt>
                <c:pt idx="201">
                  <c:v>930</c:v>
                </c:pt>
                <c:pt idx="202">
                  <c:v>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0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B$2:$B$204</c:f>
              <c:numCache>
                <c:formatCode>#,##0</c:formatCode>
                <c:ptCount val="203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C$2:$C$204</c:f>
              <c:numCache>
                <c:formatCode>General</c:formatCode>
                <c:ptCount val="20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D$2:$D$204</c:f>
              <c:numCache>
                <c:formatCode>#,##0</c:formatCode>
                <c:ptCount val="203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7</c:v>
                </c:pt>
                <c:pt idx="61">
                  <c:v>3441</c:v>
                </c:pt>
                <c:pt idx="62">
                  <c:v>3560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6</c:v>
                </c:pt>
                <c:pt idx="69">
                  <c:v>3294</c:v>
                </c:pt>
                <c:pt idx="70">
                  <c:v>3198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4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1</c:v>
                </c:pt>
                <c:pt idx="111">
                  <c:v>1681</c:v>
                </c:pt>
                <c:pt idx="112">
                  <c:v>1714</c:v>
                </c:pt>
                <c:pt idx="113">
                  <c:v>1737</c:v>
                </c:pt>
                <c:pt idx="114">
                  <c:v>1645</c:v>
                </c:pt>
                <c:pt idx="115">
                  <c:v>1747</c:v>
                </c:pt>
                <c:pt idx="116">
                  <c:v>1860</c:v>
                </c:pt>
                <c:pt idx="117">
                  <c:v>1984</c:v>
                </c:pt>
                <c:pt idx="118">
                  <c:v>2295</c:v>
                </c:pt>
                <c:pt idx="119">
                  <c:v>2352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6</c:v>
                </c:pt>
                <c:pt idx="137">
                  <c:v>2762</c:v>
                </c:pt>
                <c:pt idx="138">
                  <c:v>2748</c:v>
                </c:pt>
                <c:pt idx="139">
                  <c:v>2704</c:v>
                </c:pt>
                <c:pt idx="140">
                  <c:v>2641</c:v>
                </c:pt>
                <c:pt idx="141">
                  <c:v>2596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3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3</c:v>
                </c:pt>
                <c:pt idx="168">
                  <c:v>2655</c:v>
                </c:pt>
                <c:pt idx="169">
                  <c:v>2720</c:v>
                </c:pt>
                <c:pt idx="170">
                  <c:v>2761</c:v>
                </c:pt>
                <c:pt idx="171">
                  <c:v>2678</c:v>
                </c:pt>
                <c:pt idx="172">
                  <c:v>2681</c:v>
                </c:pt>
                <c:pt idx="173">
                  <c:v>2805</c:v>
                </c:pt>
                <c:pt idx="174">
                  <c:v>2999</c:v>
                </c:pt>
                <c:pt idx="175">
                  <c:v>3020</c:v>
                </c:pt>
                <c:pt idx="176">
                  <c:v>3032</c:v>
                </c:pt>
                <c:pt idx="177">
                  <c:v>3044</c:v>
                </c:pt>
                <c:pt idx="178">
                  <c:v>3128</c:v>
                </c:pt>
                <c:pt idx="179">
                  <c:v>3237</c:v>
                </c:pt>
                <c:pt idx="180">
                  <c:v>3378</c:v>
                </c:pt>
                <c:pt idx="181">
                  <c:v>3586</c:v>
                </c:pt>
                <c:pt idx="182">
                  <c:v>3628</c:v>
                </c:pt>
                <c:pt idx="183">
                  <c:v>3605</c:v>
                </c:pt>
                <c:pt idx="184">
                  <c:v>3686</c:v>
                </c:pt>
                <c:pt idx="185">
                  <c:v>3712</c:v>
                </c:pt>
                <c:pt idx="186">
                  <c:v>3801</c:v>
                </c:pt>
                <c:pt idx="187">
                  <c:v>3887</c:v>
                </c:pt>
                <c:pt idx="188">
                  <c:v>3936</c:v>
                </c:pt>
                <c:pt idx="189">
                  <c:v>3951</c:v>
                </c:pt>
                <c:pt idx="190">
                  <c:v>3961</c:v>
                </c:pt>
                <c:pt idx="191">
                  <c:v>3938</c:v>
                </c:pt>
                <c:pt idx="192">
                  <c:v>3868</c:v>
                </c:pt>
                <c:pt idx="193">
                  <c:v>3982</c:v>
                </c:pt>
                <c:pt idx="194">
                  <c:v>4051</c:v>
                </c:pt>
                <c:pt idx="195">
                  <c:v>4200</c:v>
                </c:pt>
                <c:pt idx="196">
                  <c:v>4126</c:v>
                </c:pt>
                <c:pt idx="197">
                  <c:v>4037</c:v>
                </c:pt>
                <c:pt idx="198">
                  <c:v>4010</c:v>
                </c:pt>
                <c:pt idx="199">
                  <c:v>3776</c:v>
                </c:pt>
                <c:pt idx="200">
                  <c:v>3662</c:v>
                </c:pt>
                <c:pt idx="201">
                  <c:v>3750</c:v>
                </c:pt>
                <c:pt idx="202">
                  <c:v>3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02"/>
              <c:layout>
                <c:manualLayout>
                  <c:x val="-2.5757087677870098E-2"/>
                  <c:y val="-6.7358568222030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B$2:$B$204</c:f>
              <c:numCache>
                <c:formatCode>#,##0</c:formatCode>
                <c:ptCount val="203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8298</c:v>
                </c:pt>
                <c:pt idx="60">
                  <c:v>8287</c:v>
                </c:pt>
                <c:pt idx="61">
                  <c:v>8194</c:v>
                </c:pt>
                <c:pt idx="62">
                  <c:v>7915</c:v>
                </c:pt>
                <c:pt idx="63">
                  <c:v>7770</c:v>
                </c:pt>
                <c:pt idx="64">
                  <c:v>7813</c:v>
                </c:pt>
                <c:pt idx="65">
                  <c:v>7901</c:v>
                </c:pt>
                <c:pt idx="66">
                  <c:v>8188</c:v>
                </c:pt>
                <c:pt idx="67">
                  <c:v>8557</c:v>
                </c:pt>
                <c:pt idx="68">
                  <c:v>8478</c:v>
                </c:pt>
                <c:pt idx="69">
                  <c:v>8233</c:v>
                </c:pt>
                <c:pt idx="70">
                  <c:v>8097</c:v>
                </c:pt>
                <c:pt idx="71">
                  <c:v>8225</c:v>
                </c:pt>
                <c:pt idx="72">
                  <c:v>8193</c:v>
                </c:pt>
                <c:pt idx="73">
                  <c:v>8508</c:v>
                </c:pt>
                <c:pt idx="74">
                  <c:v>8817</c:v>
                </c:pt>
                <c:pt idx="75">
                  <c:v>8908</c:v>
                </c:pt>
                <c:pt idx="76">
                  <c:v>8786</c:v>
                </c:pt>
                <c:pt idx="77">
                  <c:v>8999</c:v>
                </c:pt>
                <c:pt idx="78">
                  <c:v>8746</c:v>
                </c:pt>
                <c:pt idx="79">
                  <c:v>8524</c:v>
                </c:pt>
                <c:pt idx="80">
                  <c:v>8795</c:v>
                </c:pt>
                <c:pt idx="81">
                  <c:v>9148</c:v>
                </c:pt>
                <c:pt idx="82">
                  <c:v>9111</c:v>
                </c:pt>
                <c:pt idx="83">
                  <c:v>8680</c:v>
                </c:pt>
                <c:pt idx="84">
                  <c:v>8545</c:v>
                </c:pt>
                <c:pt idx="85">
                  <c:v>8285</c:v>
                </c:pt>
                <c:pt idx="86">
                  <c:v>8393</c:v>
                </c:pt>
                <c:pt idx="87">
                  <c:v>8445</c:v>
                </c:pt>
                <c:pt idx="88">
                  <c:v>8785</c:v>
                </c:pt>
                <c:pt idx="89">
                  <c:v>8610</c:v>
                </c:pt>
                <c:pt idx="90">
                  <c:v>8366</c:v>
                </c:pt>
                <c:pt idx="91">
                  <c:v>8163</c:v>
                </c:pt>
                <c:pt idx="92">
                  <c:v>8044</c:v>
                </c:pt>
                <c:pt idx="93">
                  <c:v>7897</c:v>
                </c:pt>
                <c:pt idx="94">
                  <c:v>8142</c:v>
                </c:pt>
                <c:pt idx="95">
                  <c:v>8447</c:v>
                </c:pt>
                <c:pt idx="96">
                  <c:v>8323</c:v>
                </c:pt>
                <c:pt idx="97">
                  <c:v>7948</c:v>
                </c:pt>
                <c:pt idx="98">
                  <c:v>7546</c:v>
                </c:pt>
                <c:pt idx="99">
                  <c:v>7391</c:v>
                </c:pt>
                <c:pt idx="100">
                  <c:v>7102</c:v>
                </c:pt>
                <c:pt idx="101">
                  <c:v>7485</c:v>
                </c:pt>
                <c:pt idx="102">
                  <c:v>7884</c:v>
                </c:pt>
                <c:pt idx="103">
                  <c:v>7908</c:v>
                </c:pt>
                <c:pt idx="104">
                  <c:v>7500</c:v>
                </c:pt>
                <c:pt idx="105">
                  <c:v>7396</c:v>
                </c:pt>
                <c:pt idx="106">
                  <c:v>7217</c:v>
                </c:pt>
                <c:pt idx="107">
                  <c:v>7305</c:v>
                </c:pt>
                <c:pt idx="108">
                  <c:v>7602</c:v>
                </c:pt>
                <c:pt idx="109">
                  <c:v>8225</c:v>
                </c:pt>
                <c:pt idx="110">
                  <c:v>8134</c:v>
                </c:pt>
                <c:pt idx="111">
                  <c:v>7923</c:v>
                </c:pt>
                <c:pt idx="112">
                  <c:v>8267</c:v>
                </c:pt>
                <c:pt idx="113">
                  <c:v>9129</c:v>
                </c:pt>
                <c:pt idx="114">
                  <c:v>9627</c:v>
                </c:pt>
                <c:pt idx="115">
                  <c:v>9654</c:v>
                </c:pt>
                <c:pt idx="116">
                  <c:v>9316</c:v>
                </c:pt>
                <c:pt idx="117">
                  <c:v>8772</c:v>
                </c:pt>
                <c:pt idx="118">
                  <c:v>7864</c:v>
                </c:pt>
                <c:pt idx="119">
                  <c:v>7547</c:v>
                </c:pt>
                <c:pt idx="120">
                  <c:v>7497</c:v>
                </c:pt>
                <c:pt idx="121">
                  <c:v>7820</c:v>
                </c:pt>
                <c:pt idx="122">
                  <c:v>8092</c:v>
                </c:pt>
                <c:pt idx="123">
                  <c:v>7759</c:v>
                </c:pt>
                <c:pt idx="124">
                  <c:v>7208</c:v>
                </c:pt>
                <c:pt idx="125">
                  <c:v>6699</c:v>
                </c:pt>
                <c:pt idx="126">
                  <c:v>6554</c:v>
                </c:pt>
                <c:pt idx="127">
                  <c:v>6545</c:v>
                </c:pt>
                <c:pt idx="128">
                  <c:v>6569</c:v>
                </c:pt>
                <c:pt idx="129">
                  <c:v>6823</c:v>
                </c:pt>
                <c:pt idx="130">
                  <c:v>7416</c:v>
                </c:pt>
                <c:pt idx="131">
                  <c:v>7221</c:v>
                </c:pt>
                <c:pt idx="132">
                  <c:v>6826</c:v>
                </c:pt>
                <c:pt idx="133">
                  <c:v>6780</c:v>
                </c:pt>
                <c:pt idx="134">
                  <c:v>6975</c:v>
                </c:pt>
                <c:pt idx="135">
                  <c:v>6906</c:v>
                </c:pt>
                <c:pt idx="136">
                  <c:v>7299</c:v>
                </c:pt>
                <c:pt idx="137">
                  <c:v>7643</c:v>
                </c:pt>
                <c:pt idx="138">
                  <c:v>7523</c:v>
                </c:pt>
                <c:pt idx="139">
                  <c:v>7270</c:v>
                </c:pt>
                <c:pt idx="140">
                  <c:v>7323</c:v>
                </c:pt>
                <c:pt idx="141">
                  <c:v>7376</c:v>
                </c:pt>
                <c:pt idx="142">
                  <c:v>7254</c:v>
                </c:pt>
                <c:pt idx="143">
                  <c:v>7416</c:v>
                </c:pt>
                <c:pt idx="144">
                  <c:v>7673</c:v>
                </c:pt>
                <c:pt idx="145">
                  <c:v>7567</c:v>
                </c:pt>
                <c:pt idx="146">
                  <c:v>7110</c:v>
                </c:pt>
                <c:pt idx="147">
                  <c:v>7089</c:v>
                </c:pt>
                <c:pt idx="148">
                  <c:v>7081</c:v>
                </c:pt>
                <c:pt idx="149">
                  <c:v>7110</c:v>
                </c:pt>
                <c:pt idx="150">
                  <c:v>7421</c:v>
                </c:pt>
                <c:pt idx="151">
                  <c:v>8023</c:v>
                </c:pt>
                <c:pt idx="152">
                  <c:v>7784</c:v>
                </c:pt>
                <c:pt idx="153">
                  <c:v>7361</c:v>
                </c:pt>
                <c:pt idx="154">
                  <c:v>7056</c:v>
                </c:pt>
                <c:pt idx="155">
                  <c:v>6930</c:v>
                </c:pt>
                <c:pt idx="156">
                  <c:v>6959</c:v>
                </c:pt>
                <c:pt idx="157">
                  <c:v>7179</c:v>
                </c:pt>
                <c:pt idx="158">
                  <c:v>7447</c:v>
                </c:pt>
                <c:pt idx="159">
                  <c:v>7233</c:v>
                </c:pt>
                <c:pt idx="160">
                  <c:v>6860</c:v>
                </c:pt>
                <c:pt idx="161">
                  <c:v>6750</c:v>
                </c:pt>
                <c:pt idx="162">
                  <c:v>6585</c:v>
                </c:pt>
                <c:pt idx="163">
                  <c:v>6584</c:v>
                </c:pt>
                <c:pt idx="164">
                  <c:v>6960</c:v>
                </c:pt>
                <c:pt idx="165">
                  <c:v>7401</c:v>
                </c:pt>
                <c:pt idx="166">
                  <c:v>7180</c:v>
                </c:pt>
                <c:pt idx="167">
                  <c:v>6689</c:v>
                </c:pt>
                <c:pt idx="168">
                  <c:v>6339</c:v>
                </c:pt>
                <c:pt idx="169">
                  <c:v>6120</c:v>
                </c:pt>
                <c:pt idx="170">
                  <c:v>6033</c:v>
                </c:pt>
                <c:pt idx="171">
                  <c:v>6156</c:v>
                </c:pt>
                <c:pt idx="172">
                  <c:v>6518</c:v>
                </c:pt>
                <c:pt idx="173">
                  <c:v>6387</c:v>
                </c:pt>
                <c:pt idx="174">
                  <c:v>6147</c:v>
                </c:pt>
                <c:pt idx="175">
                  <c:v>6019</c:v>
                </c:pt>
                <c:pt idx="176">
                  <c:v>5983</c:v>
                </c:pt>
                <c:pt idx="177">
                  <c:v>5884</c:v>
                </c:pt>
                <c:pt idx="178">
                  <c:v>6156</c:v>
                </c:pt>
                <c:pt idx="179">
                  <c:v>6343</c:v>
                </c:pt>
                <c:pt idx="180">
                  <c:v>6274</c:v>
                </c:pt>
                <c:pt idx="181">
                  <c:v>6083</c:v>
                </c:pt>
                <c:pt idx="182">
                  <c:v>5879</c:v>
                </c:pt>
                <c:pt idx="183">
                  <c:v>5971</c:v>
                </c:pt>
                <c:pt idx="184">
                  <c:v>6023</c:v>
                </c:pt>
                <c:pt idx="185">
                  <c:v>6422</c:v>
                </c:pt>
                <c:pt idx="186">
                  <c:v>6657</c:v>
                </c:pt>
                <c:pt idx="187">
                  <c:v>6412</c:v>
                </c:pt>
                <c:pt idx="188">
                  <c:v>6202</c:v>
                </c:pt>
                <c:pt idx="189">
                  <c:v>6147</c:v>
                </c:pt>
                <c:pt idx="190">
                  <c:v>6053</c:v>
                </c:pt>
                <c:pt idx="191">
                  <c:v>6092</c:v>
                </c:pt>
                <c:pt idx="192">
                  <c:v>6421</c:v>
                </c:pt>
                <c:pt idx="193">
                  <c:v>6629</c:v>
                </c:pt>
                <c:pt idx="194">
                  <c:v>6336</c:v>
                </c:pt>
                <c:pt idx="195">
                  <c:v>6095</c:v>
                </c:pt>
                <c:pt idx="196">
                  <c:v>6133</c:v>
                </c:pt>
                <c:pt idx="197">
                  <c:v>6116</c:v>
                </c:pt>
                <c:pt idx="198">
                  <c:v>6142</c:v>
                </c:pt>
                <c:pt idx="199">
                  <c:v>6388</c:v>
                </c:pt>
                <c:pt idx="200">
                  <c:v>6670</c:v>
                </c:pt>
                <c:pt idx="201">
                  <c:v>6530</c:v>
                </c:pt>
                <c:pt idx="202">
                  <c:v>6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C$2:$C$204</c:f>
              <c:numCache>
                <c:formatCode>General</c:formatCode>
                <c:ptCount val="20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D$2:$D$204</c:f>
              <c:numCache>
                <c:formatCode>#,##0</c:formatCode>
                <c:ptCount val="203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9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0</c:v>
                </c:pt>
                <c:pt idx="110">
                  <c:v>750</c:v>
                </c:pt>
                <c:pt idx="111">
                  <c:v>760</c:v>
                </c:pt>
                <c:pt idx="112">
                  <c:v>765</c:v>
                </c:pt>
                <c:pt idx="113">
                  <c:v>775</c:v>
                </c:pt>
                <c:pt idx="114">
                  <c:v>744</c:v>
                </c:pt>
                <c:pt idx="115">
                  <c:v>765</c:v>
                </c:pt>
                <c:pt idx="116">
                  <c:v>803</c:v>
                </c:pt>
                <c:pt idx="117">
                  <c:v>844</c:v>
                </c:pt>
                <c:pt idx="118">
                  <c:v>905</c:v>
                </c:pt>
                <c:pt idx="119">
                  <c:v>939</c:v>
                </c:pt>
                <c:pt idx="120">
                  <c:v>954</c:v>
                </c:pt>
                <c:pt idx="121">
                  <c:v>970</c:v>
                </c:pt>
                <c:pt idx="122">
                  <c:v>947</c:v>
                </c:pt>
                <c:pt idx="123">
                  <c:v>958</c:v>
                </c:pt>
                <c:pt idx="124">
                  <c:v>1003</c:v>
                </c:pt>
                <c:pt idx="125">
                  <c:v>1089</c:v>
                </c:pt>
                <c:pt idx="126">
                  <c:v>1110</c:v>
                </c:pt>
                <c:pt idx="127">
                  <c:v>1148</c:v>
                </c:pt>
                <c:pt idx="128">
                  <c:v>1147</c:v>
                </c:pt>
                <c:pt idx="129">
                  <c:v>1140</c:v>
                </c:pt>
                <c:pt idx="130">
                  <c:v>1147</c:v>
                </c:pt>
                <c:pt idx="131">
                  <c:v>1174</c:v>
                </c:pt>
                <c:pt idx="132">
                  <c:v>1187</c:v>
                </c:pt>
                <c:pt idx="133">
                  <c:v>1172</c:v>
                </c:pt>
                <c:pt idx="134">
                  <c:v>1169</c:v>
                </c:pt>
                <c:pt idx="135">
                  <c:v>1178</c:v>
                </c:pt>
                <c:pt idx="136">
                  <c:v>1167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2</c:v>
                </c:pt>
                <c:pt idx="145">
                  <c:v>1058</c:v>
                </c:pt>
                <c:pt idx="146">
                  <c:v>1080</c:v>
                </c:pt>
                <c:pt idx="147">
                  <c:v>1046</c:v>
                </c:pt>
                <c:pt idx="148">
                  <c:v>1037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2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0</c:v>
                </c:pt>
                <c:pt idx="168">
                  <c:v>1215</c:v>
                </c:pt>
                <c:pt idx="169">
                  <c:v>1244</c:v>
                </c:pt>
                <c:pt idx="170">
                  <c:v>1268</c:v>
                </c:pt>
                <c:pt idx="171">
                  <c:v>1271</c:v>
                </c:pt>
                <c:pt idx="172">
                  <c:v>1271</c:v>
                </c:pt>
                <c:pt idx="173">
                  <c:v>1280</c:v>
                </c:pt>
                <c:pt idx="174">
                  <c:v>1362</c:v>
                </c:pt>
                <c:pt idx="175">
                  <c:v>1391</c:v>
                </c:pt>
                <c:pt idx="176">
                  <c:v>1409</c:v>
                </c:pt>
                <c:pt idx="177">
                  <c:v>1462</c:v>
                </c:pt>
                <c:pt idx="178">
                  <c:v>1438</c:v>
                </c:pt>
                <c:pt idx="179">
                  <c:v>1467</c:v>
                </c:pt>
                <c:pt idx="180">
                  <c:v>1504</c:v>
                </c:pt>
                <c:pt idx="181">
                  <c:v>1585</c:v>
                </c:pt>
                <c:pt idx="182">
                  <c:v>1599</c:v>
                </c:pt>
                <c:pt idx="183">
                  <c:v>1626</c:v>
                </c:pt>
                <c:pt idx="184">
                  <c:v>1651</c:v>
                </c:pt>
                <c:pt idx="185">
                  <c:v>1672</c:v>
                </c:pt>
                <c:pt idx="186">
                  <c:v>1677</c:v>
                </c:pt>
                <c:pt idx="187">
                  <c:v>1678</c:v>
                </c:pt>
                <c:pt idx="188">
                  <c:v>1772</c:v>
                </c:pt>
                <c:pt idx="189">
                  <c:v>1799</c:v>
                </c:pt>
                <c:pt idx="190">
                  <c:v>1832</c:v>
                </c:pt>
                <c:pt idx="191">
                  <c:v>1825</c:v>
                </c:pt>
                <c:pt idx="192">
                  <c:v>1833</c:v>
                </c:pt>
                <c:pt idx="193">
                  <c:v>1783</c:v>
                </c:pt>
                <c:pt idx="194">
                  <c:v>1828</c:v>
                </c:pt>
                <c:pt idx="195">
                  <c:v>1882</c:v>
                </c:pt>
                <c:pt idx="196">
                  <c:v>1890</c:v>
                </c:pt>
                <c:pt idx="197">
                  <c:v>1856</c:v>
                </c:pt>
                <c:pt idx="198">
                  <c:v>1854</c:v>
                </c:pt>
                <c:pt idx="199">
                  <c:v>1807</c:v>
                </c:pt>
                <c:pt idx="200">
                  <c:v>1777</c:v>
                </c:pt>
                <c:pt idx="201">
                  <c:v>1804</c:v>
                </c:pt>
                <c:pt idx="202">
                  <c:v>1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02"/>
              <c:layout>
                <c:manualLayout>
                  <c:x val="-5.6121672874553101E-2"/>
                  <c:y val="-8.98114242960411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B$2:$B$204</c:f>
              <c:numCache>
                <c:formatCode>#,##0</c:formatCode>
                <c:ptCount val="203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211</c:v>
                </c:pt>
                <c:pt idx="60">
                  <c:v>1230</c:v>
                </c:pt>
                <c:pt idx="61">
                  <c:v>1217</c:v>
                </c:pt>
                <c:pt idx="62">
                  <c:v>1245</c:v>
                </c:pt>
                <c:pt idx="63">
                  <c:v>1213</c:v>
                </c:pt>
                <c:pt idx="64">
                  <c:v>1190</c:v>
                </c:pt>
                <c:pt idx="65">
                  <c:v>1218</c:v>
                </c:pt>
                <c:pt idx="66">
                  <c:v>1245</c:v>
                </c:pt>
                <c:pt idx="67">
                  <c:v>1244</c:v>
                </c:pt>
                <c:pt idx="68">
                  <c:v>1245</c:v>
                </c:pt>
                <c:pt idx="69">
                  <c:v>1331</c:v>
                </c:pt>
                <c:pt idx="70">
                  <c:v>1296</c:v>
                </c:pt>
                <c:pt idx="71">
                  <c:v>1263</c:v>
                </c:pt>
                <c:pt idx="72">
                  <c:v>1279</c:v>
                </c:pt>
                <c:pt idx="73">
                  <c:v>1279</c:v>
                </c:pt>
                <c:pt idx="74">
                  <c:v>1273</c:v>
                </c:pt>
                <c:pt idx="75">
                  <c:v>1300</c:v>
                </c:pt>
                <c:pt idx="76">
                  <c:v>1319</c:v>
                </c:pt>
                <c:pt idx="77">
                  <c:v>1366</c:v>
                </c:pt>
                <c:pt idx="78">
                  <c:v>1381</c:v>
                </c:pt>
                <c:pt idx="79">
                  <c:v>1297</c:v>
                </c:pt>
                <c:pt idx="80">
                  <c:v>1301</c:v>
                </c:pt>
                <c:pt idx="81">
                  <c:v>1344</c:v>
                </c:pt>
                <c:pt idx="82">
                  <c:v>1370</c:v>
                </c:pt>
                <c:pt idx="83">
                  <c:v>1302</c:v>
                </c:pt>
                <c:pt idx="84">
                  <c:v>1316</c:v>
                </c:pt>
                <c:pt idx="85">
                  <c:v>1338</c:v>
                </c:pt>
                <c:pt idx="86">
                  <c:v>1283</c:v>
                </c:pt>
                <c:pt idx="87">
                  <c:v>1263</c:v>
                </c:pt>
                <c:pt idx="88">
                  <c:v>1327</c:v>
                </c:pt>
                <c:pt idx="89">
                  <c:v>1358</c:v>
                </c:pt>
                <c:pt idx="90">
                  <c:v>1305</c:v>
                </c:pt>
                <c:pt idx="91">
                  <c:v>1276</c:v>
                </c:pt>
                <c:pt idx="92">
                  <c:v>1271</c:v>
                </c:pt>
                <c:pt idx="93">
                  <c:v>1202</c:v>
                </c:pt>
                <c:pt idx="94">
                  <c:v>1185</c:v>
                </c:pt>
                <c:pt idx="95">
                  <c:v>1177</c:v>
                </c:pt>
                <c:pt idx="96">
                  <c:v>1222</c:v>
                </c:pt>
                <c:pt idx="97">
                  <c:v>1235</c:v>
                </c:pt>
                <c:pt idx="98">
                  <c:v>1162</c:v>
                </c:pt>
                <c:pt idx="99">
                  <c:v>1159</c:v>
                </c:pt>
                <c:pt idx="100">
                  <c:v>1096</c:v>
                </c:pt>
                <c:pt idx="101">
                  <c:v>1130</c:v>
                </c:pt>
                <c:pt idx="102">
                  <c:v>1212</c:v>
                </c:pt>
                <c:pt idx="103">
                  <c:v>1196</c:v>
                </c:pt>
                <c:pt idx="104">
                  <c:v>1148</c:v>
                </c:pt>
                <c:pt idx="105">
                  <c:v>1125</c:v>
                </c:pt>
                <c:pt idx="106">
                  <c:v>1120</c:v>
                </c:pt>
                <c:pt idx="107">
                  <c:v>1115</c:v>
                </c:pt>
                <c:pt idx="108">
                  <c:v>1160</c:v>
                </c:pt>
                <c:pt idx="109">
                  <c:v>1171</c:v>
                </c:pt>
                <c:pt idx="110">
                  <c:v>1196</c:v>
                </c:pt>
                <c:pt idx="111">
                  <c:v>1205</c:v>
                </c:pt>
                <c:pt idx="112">
                  <c:v>1252</c:v>
                </c:pt>
                <c:pt idx="113">
                  <c:v>1281</c:v>
                </c:pt>
                <c:pt idx="114">
                  <c:v>1329</c:v>
                </c:pt>
                <c:pt idx="115">
                  <c:v>1344</c:v>
                </c:pt>
                <c:pt idx="116">
                  <c:v>1328</c:v>
                </c:pt>
                <c:pt idx="117">
                  <c:v>1279</c:v>
                </c:pt>
                <c:pt idx="118">
                  <c:v>1243</c:v>
                </c:pt>
                <c:pt idx="119">
                  <c:v>1170</c:v>
                </c:pt>
                <c:pt idx="120">
                  <c:v>1184</c:v>
                </c:pt>
                <c:pt idx="121">
                  <c:v>1161</c:v>
                </c:pt>
                <c:pt idx="122">
                  <c:v>1181</c:v>
                </c:pt>
                <c:pt idx="123">
                  <c:v>1157</c:v>
                </c:pt>
                <c:pt idx="124">
                  <c:v>1073</c:v>
                </c:pt>
                <c:pt idx="125">
                  <c:v>1022</c:v>
                </c:pt>
                <c:pt idx="126">
                  <c:v>958</c:v>
                </c:pt>
                <c:pt idx="127">
                  <c:v>949</c:v>
                </c:pt>
                <c:pt idx="128">
                  <c:v>944</c:v>
                </c:pt>
                <c:pt idx="129">
                  <c:v>970</c:v>
                </c:pt>
                <c:pt idx="130">
                  <c:v>973</c:v>
                </c:pt>
                <c:pt idx="131">
                  <c:v>985</c:v>
                </c:pt>
                <c:pt idx="132">
                  <c:v>959</c:v>
                </c:pt>
                <c:pt idx="133">
                  <c:v>921</c:v>
                </c:pt>
                <c:pt idx="134">
                  <c:v>936</c:v>
                </c:pt>
                <c:pt idx="135">
                  <c:v>938</c:v>
                </c:pt>
                <c:pt idx="136">
                  <c:v>946</c:v>
                </c:pt>
                <c:pt idx="137">
                  <c:v>972</c:v>
                </c:pt>
                <c:pt idx="138">
                  <c:v>963</c:v>
                </c:pt>
                <c:pt idx="139">
                  <c:v>955</c:v>
                </c:pt>
                <c:pt idx="140">
                  <c:v>950</c:v>
                </c:pt>
                <c:pt idx="141">
                  <c:v>959</c:v>
                </c:pt>
                <c:pt idx="142">
                  <c:v>946</c:v>
                </c:pt>
                <c:pt idx="143">
                  <c:v>970</c:v>
                </c:pt>
                <c:pt idx="144">
                  <c:v>997</c:v>
                </c:pt>
                <c:pt idx="145">
                  <c:v>984</c:v>
                </c:pt>
                <c:pt idx="146">
                  <c:v>961</c:v>
                </c:pt>
                <c:pt idx="147">
                  <c:v>960</c:v>
                </c:pt>
                <c:pt idx="148">
                  <c:v>964</c:v>
                </c:pt>
                <c:pt idx="149">
                  <c:v>982</c:v>
                </c:pt>
                <c:pt idx="150">
                  <c:v>988</c:v>
                </c:pt>
                <c:pt idx="151">
                  <c:v>1025</c:v>
                </c:pt>
                <c:pt idx="152">
                  <c:v>1051</c:v>
                </c:pt>
                <c:pt idx="153">
                  <c:v>960</c:v>
                </c:pt>
                <c:pt idx="154">
                  <c:v>911</c:v>
                </c:pt>
                <c:pt idx="155">
                  <c:v>921</c:v>
                </c:pt>
                <c:pt idx="156">
                  <c:v>914</c:v>
                </c:pt>
                <c:pt idx="157">
                  <c:v>931</c:v>
                </c:pt>
                <c:pt idx="158">
                  <c:v>975</c:v>
                </c:pt>
                <c:pt idx="159">
                  <c:v>967</c:v>
                </c:pt>
                <c:pt idx="160">
                  <c:v>916</c:v>
                </c:pt>
                <c:pt idx="161">
                  <c:v>915</c:v>
                </c:pt>
                <c:pt idx="162">
                  <c:v>875</c:v>
                </c:pt>
                <c:pt idx="163">
                  <c:v>809</c:v>
                </c:pt>
                <c:pt idx="164">
                  <c:v>844</c:v>
                </c:pt>
                <c:pt idx="165">
                  <c:v>876</c:v>
                </c:pt>
                <c:pt idx="166">
                  <c:v>844</c:v>
                </c:pt>
                <c:pt idx="167">
                  <c:v>822</c:v>
                </c:pt>
                <c:pt idx="168">
                  <c:v>774</c:v>
                </c:pt>
                <c:pt idx="169">
                  <c:v>751</c:v>
                </c:pt>
                <c:pt idx="170">
                  <c:v>752</c:v>
                </c:pt>
                <c:pt idx="171">
                  <c:v>715</c:v>
                </c:pt>
                <c:pt idx="172">
                  <c:v>770</c:v>
                </c:pt>
                <c:pt idx="173">
                  <c:v>767</c:v>
                </c:pt>
                <c:pt idx="174">
                  <c:v>754</c:v>
                </c:pt>
                <c:pt idx="175">
                  <c:v>752</c:v>
                </c:pt>
                <c:pt idx="176">
                  <c:v>710</c:v>
                </c:pt>
                <c:pt idx="177">
                  <c:v>738</c:v>
                </c:pt>
                <c:pt idx="178">
                  <c:v>777</c:v>
                </c:pt>
                <c:pt idx="179">
                  <c:v>731</c:v>
                </c:pt>
                <c:pt idx="180">
                  <c:v>723</c:v>
                </c:pt>
                <c:pt idx="181">
                  <c:v>722</c:v>
                </c:pt>
                <c:pt idx="182">
                  <c:v>730</c:v>
                </c:pt>
                <c:pt idx="183">
                  <c:v>741</c:v>
                </c:pt>
                <c:pt idx="184">
                  <c:v>737</c:v>
                </c:pt>
                <c:pt idx="185">
                  <c:v>758</c:v>
                </c:pt>
                <c:pt idx="186">
                  <c:v>748</c:v>
                </c:pt>
                <c:pt idx="187">
                  <c:v>761</c:v>
                </c:pt>
                <c:pt idx="188">
                  <c:v>771</c:v>
                </c:pt>
                <c:pt idx="189">
                  <c:v>693</c:v>
                </c:pt>
                <c:pt idx="190">
                  <c:v>648</c:v>
                </c:pt>
                <c:pt idx="191">
                  <c:v>628</c:v>
                </c:pt>
                <c:pt idx="192">
                  <c:v>675</c:v>
                </c:pt>
                <c:pt idx="193">
                  <c:v>670</c:v>
                </c:pt>
                <c:pt idx="194">
                  <c:v>639</c:v>
                </c:pt>
                <c:pt idx="195">
                  <c:v>641</c:v>
                </c:pt>
                <c:pt idx="196">
                  <c:v>597</c:v>
                </c:pt>
                <c:pt idx="197">
                  <c:v>649</c:v>
                </c:pt>
                <c:pt idx="198">
                  <c:v>673</c:v>
                </c:pt>
                <c:pt idx="199">
                  <c:v>666</c:v>
                </c:pt>
                <c:pt idx="200">
                  <c:v>661</c:v>
                </c:pt>
                <c:pt idx="201">
                  <c:v>676</c:v>
                </c:pt>
                <c:pt idx="202">
                  <c:v>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C$2:$C$204</c:f>
              <c:numCache>
                <c:formatCode>General</c:formatCode>
                <c:ptCount val="20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D$2:$D$204</c:f>
              <c:numCache>
                <c:formatCode>#,##0</c:formatCode>
                <c:ptCount val="2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6</c:v>
                </c:pt>
                <c:pt idx="184">
                  <c:v>19</c:v>
                </c:pt>
                <c:pt idx="185">
                  <c:v>20</c:v>
                </c:pt>
                <c:pt idx="186">
                  <c:v>21</c:v>
                </c:pt>
                <c:pt idx="187">
                  <c:v>22</c:v>
                </c:pt>
                <c:pt idx="188">
                  <c:v>30</c:v>
                </c:pt>
                <c:pt idx="189">
                  <c:v>25</c:v>
                </c:pt>
                <c:pt idx="190">
                  <c:v>30</c:v>
                </c:pt>
                <c:pt idx="191">
                  <c:v>34</c:v>
                </c:pt>
                <c:pt idx="192">
                  <c:v>32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36</c:v>
                </c:pt>
                <c:pt idx="197">
                  <c:v>35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1</c:v>
                </c:pt>
                <c:pt idx="202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0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B$2:$B$204</c:f>
              <c:numCache>
                <c:formatCode>#,##0</c:formatCode>
                <c:ptCount val="203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4</c:f>
              <c:numCache>
                <c:formatCode>m/d/yyyy</c:formatCode>
                <c:ptCount val="20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</c:numCache>
            </c:numRef>
          </c:cat>
          <c:val>
            <c:numRef>
              <c:f>Sheet1!$C$2:$C$204</c:f>
              <c:numCache>
                <c:formatCode>General</c:formatCode>
                <c:ptCount val="20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3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3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23.03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692474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559722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09686064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50625251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02491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1CC2D9D8-E40E-4511-ACEC-155C504D6F73}"/>
              </a:ext>
            </a:extLst>
          </p:cNvPr>
          <p:cNvSpPr txBox="1"/>
          <p:nvPr/>
        </p:nvSpPr>
        <p:spPr>
          <a:xfrm>
            <a:off x="199580" y="6459955"/>
            <a:ext cx="1978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* Včetně </a:t>
            </a:r>
            <a:r>
              <a:rPr lang="cs-CZ" sz="1600" dirty="0" err="1"/>
              <a:t>reprofilizace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519766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13</TotalTime>
  <Words>1046</Words>
  <Application>Microsoft Office PowerPoint</Application>
  <PresentationFormat>Širokoúhlá obrazovka</PresentationFormat>
  <Paragraphs>454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Brožová Lucie Mgr.</cp:lastModifiedBy>
  <cp:revision>573</cp:revision>
  <dcterms:created xsi:type="dcterms:W3CDTF">2020-08-08T14:25:07Z</dcterms:created>
  <dcterms:modified xsi:type="dcterms:W3CDTF">2021-03-23T04:43:03Z</dcterms:modified>
</cp:coreProperties>
</file>